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86"/>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Pack Count Bracket" id="{1BB4AEC8-F39E-4DAD-901D-6B0AEF8EF03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bleStyles" Target="tableStyle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037767721881699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71709021879724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39045555003617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14962892935704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51882130535129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54633758251371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02328626163350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2125005601838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535933724372458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00306545873434E-3</c:v>
                </c:pt>
                <c:pt idx="3">
                  <c:v>0.9968397616658316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64302626851865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469451987128903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16390910083898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5251652785375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18598258291864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3194900776830781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371278195280578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226517664242014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25312728633693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81990635012931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960830729772854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535139895538707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15225919026812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390489390964131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611781482740895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591015948012349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1593524298387083E-3</c:v>
                </c:pt>
                <c:pt idx="3">
                  <c:v>0.393473096135170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0207081319597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21610175380450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802196961647730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196889878061188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2198223569460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8946712341141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333198684219459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55350759784647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7.148203296867518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66061510200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0561685710746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37541747182613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290772737306611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18410833892929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24131894943087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74266259492371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8174935066352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493667150382128E-3</c:v>
                </c:pt>
                <c:pt idx="3">
                  <c:v>0.995050633284961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9465246317730947E-3</c:v>
                </c:pt>
                <c:pt idx="3">
                  <c:v>0.6067827599882317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08428715463145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557776586101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91867225164313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1930690552194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24566995844545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954473803627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360678718270723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2630019579669921E-2</c:v>
                </c:pt>
                <c:pt idx="3">
                  <c:v>0.957369980420330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2613819186359557E-2</c:v>
                </c:pt>
                <c:pt idx="3">
                  <c:v>0.529309952758463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0302029169716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50420872616063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1.6200393310363201E-5</c:v>
                </c:pt>
                <c:pt idx="3">
                  <c:v>0.1527159112305435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754809554024302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69704098628917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00234519181233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27525182816554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226196935329396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561372174514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40933470031746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576732377187406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2350175318603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2767845298157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00812187856314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448007605976077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5829499012922E-2</c:v>
                </c:pt>
                <c:pt idx="3">
                  <c:v>0.989144105011579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0855829499012922E-2</c:v>
                </c:pt>
                <c:pt idx="3">
                  <c:v>0.440613584400711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8042120622459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61933158065059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242950841819016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023279279617345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4900721755933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3517364122557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59173977151572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228165134607186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14014699630179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7346189482019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64884809905714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2150629897229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7918969877060174E-2</c:v>
                </c:pt>
                <c:pt idx="3">
                  <c:v>0.912080303065722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4418338321837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2">
                  <c:v>8.7918969877060174E-2</c:v>
                </c:pt>
                <c:pt idx="3">
                  <c:v>0.331006117429131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35945860290199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30612612857330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3896206976845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438973665797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1035367549116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80678688816063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20910802835467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88531941370065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6134030379639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941019726478863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0310324501966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612487588295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942132287600209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7863959149717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0081022058662992E-3</c:v>
                </c:pt>
                <c:pt idx="3">
                  <c:v>0.9969917000994041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152299089699222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0074565889133494E-3</c:v>
                </c:pt>
                <c:pt idx="3">
                  <c:v>0.377716847480696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95196483791419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31103344303192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051218789122543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408694002661921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3113644452881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956568567284285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31731736957939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500605561518627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246758032632931E-2</c:v>
                </c:pt>
                <c:pt idx="3">
                  <c:v>0.9757517565969979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2672734024057402E-2</c:v>
                </c:pt>
                <c:pt idx="3">
                  <c:v>0.9773258770311915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265436270880462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2669499116434344E-2</c:v>
                </c:pt>
                <c:pt idx="3">
                  <c:v>0.2909284228790947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388139114429319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386182832912857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2349076230573742E-6</c:v>
                </c:pt>
                <c:pt idx="3">
                  <c:v>0.535999871969870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00306545873434E-3</c:v>
                </c:pt>
                <c:pt idx="3">
                  <c:v>0.9968397616658316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841718719271108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1593524298387083E-3</c:v>
                </c:pt>
                <c:pt idx="3">
                  <c:v>0.393473096135170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0207081319597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21610175380450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877126684521854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04130127492609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4900721755933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3517364122557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59173977151572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326362935076310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246758032632931E-2</c:v>
                </c:pt>
                <c:pt idx="3">
                  <c:v>0.9757517565969979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99156218664544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4243298545907115E-2</c:v>
                </c:pt>
                <c:pt idx="3">
                  <c:v>0.3060955281236172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83162706456197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7601113183167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459486725816376E-6</c:v>
                </c:pt>
                <c:pt idx="3">
                  <c:v>0.513823222778138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748429494341261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4243298545907115E-2</c:v>
                </c:pt>
                <c:pt idx="3">
                  <c:v>0.3060955281236172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83162706456197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7601113183167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459486725816376E-6</c:v>
                </c:pt>
                <c:pt idx="3">
                  <c:v>0.5162545497011804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8.717090218797243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037767721881699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7241844733358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666271076700330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9.518821305351296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14962892935704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526072161864672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02026542064904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12125005601838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02328626163350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99763153358888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8.361705710135698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64302626851865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69451987128903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01639091008389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87111478614562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194900776830781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37127819528057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226517664242014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207303363646624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6083072977285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3513989553870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152259190268123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351667539238221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0081022058662992E-3</c:v>
                </c:pt>
                <c:pt idx="3">
                  <c:v>0.9969917000994041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045684670247308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2198223569460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8946712341141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333198684219459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0966728642721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090875868009677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66061510200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0561685710746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37541747182613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199904017500231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474266259492371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18410833892929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24131894943087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74509338559564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542984168075685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493667150382128E-3</c:v>
                </c:pt>
                <c:pt idx="3">
                  <c:v>0.995050633284961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037767721881699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71709021879724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39045555003617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120430209740100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9465246317730947E-3</c:v>
                </c:pt>
                <c:pt idx="3">
                  <c:v>0.6067827599882317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08428715463145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557776586101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806629230669127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6705518922463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1930690552194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24566995844545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954473803627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193623529046091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2630019579669921E-2</c:v>
                </c:pt>
                <c:pt idx="3">
                  <c:v>0.957369980420330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461470956453709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2613819186359557E-2</c:v>
                </c:pt>
                <c:pt idx="3">
                  <c:v>0.529309952758463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0302029169716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50420872616063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1.6200393310363201E-5</c:v>
                </c:pt>
                <c:pt idx="3">
                  <c:v>0.1381012016660064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754809554024302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69704098628917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00234519181233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27525182816554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226196935329396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561372174514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40933470031746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576732377187406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2350175318603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2767845298157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00812187856314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448007605976077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5829499012922E-2</c:v>
                </c:pt>
                <c:pt idx="3">
                  <c:v>0.989144105011579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0855829499012922E-2</c:v>
                </c:pt>
                <c:pt idx="3">
                  <c:v>0.440613584400711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8042120622459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61933158065059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242950841819016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14014699630179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7346189482019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64884809905714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2150629897229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7918969877060174E-2</c:v>
                </c:pt>
                <c:pt idx="3">
                  <c:v>0.912080303065722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4418338321837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2">
                  <c:v>8.7918969877060174E-2</c:v>
                </c:pt>
                <c:pt idx="3">
                  <c:v>0.331006117429131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35945860290199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30612612857330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3896206976845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438973665797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1035367549116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80678688816063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14962892935704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51882130535129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54633758251371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20910802835467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88531941370065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6134030379639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941019726478863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0310324501966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612487588295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942132287600209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7863959149717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02328626163350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2125005601838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535933724372458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466444677470543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0074565889133494E-3</c:v>
                </c:pt>
                <c:pt idx="3">
                  <c:v>0.377716847480696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95196483791419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31103344303192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019804230345411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016390910083898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64302626851865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69451987128903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5251652785375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18598258291864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226517664242014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194900776830781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37127819528057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25312728633693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81990635012931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152259190268123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6083072977285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3513989553870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390489390964131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611781482740895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8.740485821371707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2198223569460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8946712341141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333198684219459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66794709846080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414545441061343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66061510200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0561685710746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37541747182613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14932534140377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8.449038873190364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18410833892929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24131894943087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74266259492371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3300311790334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493667150382128E-3</c:v>
                </c:pt>
                <c:pt idx="3">
                  <c:v>0.995050633284961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9465246317730947E-3</c:v>
                </c:pt>
                <c:pt idx="3">
                  <c:v>0.6067827599882317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08428715463145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557776586101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91867225164313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1930690552194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24566995844545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954473803627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360678718270723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2630019579669921E-2</c:v>
                </c:pt>
                <c:pt idx="3">
                  <c:v>0.957369980420330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2613819186359557E-2</c:v>
                </c:pt>
                <c:pt idx="3">
                  <c:v>0.529309952758463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0302029169716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50420872616063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1.6200393310363201E-5</c:v>
                </c:pt>
                <c:pt idx="3">
                  <c:v>0.1527159112305435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754809554024302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69704098628917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00234519181233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27525182816554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862386632120410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3113644452881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956568567284285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31731736957939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455236298572778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226196935329396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561372174514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40933470031746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576732377187406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2350175318603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2767845298157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00812187856314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448007605976077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5829499012922E-2</c:v>
                </c:pt>
                <c:pt idx="3">
                  <c:v>0.989144105011579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0855829499012922E-2</c:v>
                </c:pt>
                <c:pt idx="3">
                  <c:v>0.440613584400711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8042120622459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61933158065059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242950841819016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14014699630179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7346189482019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64884809905714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2150629897229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7918969877060174E-2</c:v>
                </c:pt>
                <c:pt idx="3">
                  <c:v>0.912080303065722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4418338321837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2">
                  <c:v>8.7918969877060174E-2</c:v>
                </c:pt>
                <c:pt idx="3">
                  <c:v>0.331006117429131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35945860290199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30612612857330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3896206976845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438973665797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1035367549116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80678688816063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20910802835467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88531941370065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6134030379639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941019726478863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2672734024057402E-2</c:v>
                </c:pt>
                <c:pt idx="3">
                  <c:v>0.9773258770311915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0310324501966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612487588295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942132287600209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7863959149717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0081022058662992E-3</c:v>
                </c:pt>
                <c:pt idx="3">
                  <c:v>0.9969917000994041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068749416864873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0074565889133494E-3</c:v>
                </c:pt>
                <c:pt idx="3">
                  <c:v>0.377716847480696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95196483791419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31103344303192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959573756405978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822353929807463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3113644452881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956568567284285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31731736957939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359239568804072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2672734024057402E-2</c:v>
                </c:pt>
                <c:pt idx="3">
                  <c:v>0.9773258770311915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797359287495413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2669499116434344E-2</c:v>
                </c:pt>
                <c:pt idx="3">
                  <c:v>0.2909284228790947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388139114429319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386182832912857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2349076230573742E-6</c:v>
                </c:pt>
                <c:pt idx="3">
                  <c:v>0.5406806418037207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668671816051930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2669499116434344E-2</c:v>
                </c:pt>
                <c:pt idx="3">
                  <c:v>0.2909284228790947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388139114429319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386182832912857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2349076230573742E-6</c:v>
                </c:pt>
                <c:pt idx="3">
                  <c:v>0.5319675165181555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00306545873434E-3</c:v>
                </c:pt>
                <c:pt idx="3">
                  <c:v>0.9968397616658316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223740938598630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1593524298387083E-3</c:v>
                </c:pt>
                <c:pt idx="3">
                  <c:v>0.393473096135170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0207081319597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21610175380450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738924462589102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4.037205633115434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4900721755933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3517364122557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59173977151572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126772499257377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246758032632931E-2</c:v>
                </c:pt>
                <c:pt idx="3">
                  <c:v>0.9757517565969979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923364413421214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4243298545907115E-2</c:v>
                </c:pt>
                <c:pt idx="3">
                  <c:v>0.3060955281236172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83162706456197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7601113183167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459486725816376E-6</c:v>
                </c:pt>
                <c:pt idx="3">
                  <c:v>0.5045052005103809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25493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108160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6960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73291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39482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338427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042777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05202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5262567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907131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65705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2922483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662508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652814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84052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394830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8812239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64768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702620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397014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8547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1993100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07953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972788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619546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03304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591996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4287066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346941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814733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8287268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130999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5616224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593706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119813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92812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456746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44557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561635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171507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3588105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375577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1520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001905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570857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1811736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3182992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104872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782222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447466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502473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937378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838392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664715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676213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8848398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74411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653539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70074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4778224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041996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124113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39775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959029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613777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28188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979784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226572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149906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6984498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671026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23340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252949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9243619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0873724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6355271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5260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2809443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6232136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047685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81260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5447</Words>
  <Application>Microsoft Office PowerPoint</Application>
  <PresentationFormat>On-screen Show (16:9)</PresentationFormat>
  <Paragraphs>1613</Paragraphs>
  <Slides>8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90"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1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